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2" showSpecialPlsOnTitleSld="0" saveSubsetFonts="1">
  <p:sldMasterIdLst>
    <p:sldMasterId id="2147483729" r:id="rId1"/>
  </p:sldMasterIdLst>
  <p:notesMasterIdLst>
    <p:notesMasterId r:id="rId7"/>
  </p:notesMasterIdLst>
  <p:handoutMasterIdLst>
    <p:handoutMasterId r:id="rId8"/>
  </p:handoutMasterIdLst>
  <p:sldIdLst>
    <p:sldId id="485" r:id="rId2"/>
    <p:sldId id="507" r:id="rId3"/>
    <p:sldId id="509" r:id="rId4"/>
    <p:sldId id="508" r:id="rId5"/>
    <p:sldId id="510" r:id="rId6"/>
  </p:sldIdLst>
  <p:sldSz cx="9144000" cy="5143500" type="screen16x9"/>
  <p:notesSz cx="6858000" cy="9144000"/>
  <p:custDataLst>
    <p:tags r:id="rId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00"/>
    <a:srgbClr val="FE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54" autoAdjust="0"/>
    <p:restoredTop sz="91415" autoAdjust="0"/>
  </p:normalViewPr>
  <p:slideViewPr>
    <p:cSldViewPr snapToGrid="0">
      <p:cViewPr varScale="1">
        <p:scale>
          <a:sx n="138" d="100"/>
          <a:sy n="138" d="100"/>
        </p:scale>
        <p:origin x="176" y="1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10548EDC-6A2D-AD46-A222-62D069E2596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98989C5-0000-6B43-BD51-5378384CBFB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8A60B-EA83-46D5-9C27-6E3A763A30D0}" type="datetime1">
              <a:rPr kumimoji="1" lang="zh-CN" altLang="en-US" smtClean="0"/>
              <a:t>2021/7/22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940604-5726-0C4A-A76D-ECE1777A1C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DB27064-9A43-2843-B302-0C7EEB72EC6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85C933-74A5-4A4D-B3F1-D428FDB7A8F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2548421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4D8FF7F5-308B-4D14-81A5-8978EC182876}" type="datetime1">
              <a:rPr kumimoji="1" lang="zh-CN" altLang="en-US" smtClean="0"/>
              <a:pPr/>
              <a:t>2021/7/22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250F315-5387-9149-8A7B-CDB09648309A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38978383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D8FF7F5-308B-4D14-81A5-8978EC182876}" type="datetime1">
              <a:rPr kumimoji="1" lang="zh-CN" altLang="en-US" smtClean="0"/>
              <a:t>2021/7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0F315-5387-9149-8A7B-CDB09648309A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30671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D8FF7F5-308B-4D14-81A5-8978EC182876}" type="datetime1">
              <a:rPr kumimoji="1" lang="zh-CN" altLang="en-US" smtClean="0"/>
              <a:t>2021/7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0F315-5387-9149-8A7B-CDB09648309A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9867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D8FF7F5-308B-4D14-81A5-8978EC182876}" type="datetime1">
              <a:rPr kumimoji="1" lang="zh-CN" altLang="en-US" smtClean="0"/>
              <a:t>2021/7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0F315-5387-9149-8A7B-CDB09648309A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5373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D8FF7F5-308B-4D14-81A5-8978EC182876}" type="datetime1">
              <a:rPr kumimoji="1" lang="zh-CN" altLang="en-US" smtClean="0"/>
              <a:t>2021/7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0F315-5387-9149-8A7B-CDB09648309A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61463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88431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73473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42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矩形"/>
          <p:cNvSpPr/>
          <p:nvPr userDrawn="1"/>
        </p:nvSpPr>
        <p:spPr>
          <a:xfrm>
            <a:off x="-5052" y="4061865"/>
            <a:ext cx="9149052" cy="108163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矩形"/>
          <p:cNvSpPr/>
          <p:nvPr userDrawn="1"/>
        </p:nvSpPr>
        <p:spPr>
          <a:xfrm>
            <a:off x="-5052" y="-4366"/>
            <a:ext cx="9149052" cy="4066231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7D61A22-B8EE-884F-AD36-FFC5422B2D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49" y="898741"/>
            <a:ext cx="7920000" cy="6237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封面标题</a:t>
            </a:r>
          </a:p>
        </p:txBody>
      </p:sp>
      <p:sp>
        <p:nvSpPr>
          <p:cNvPr id="12" name="文本占位符 11">
            <a:extLst>
              <a:ext uri="{FF2B5EF4-FFF2-40B4-BE49-F238E27FC236}">
                <a16:creationId xmlns:a16="http://schemas.microsoft.com/office/drawing/2014/main" id="{8DAB833E-1FEE-B64F-8CBD-9BFC2024E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049" y="1663700"/>
            <a:ext cx="7920000" cy="5191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副标题信息</a:t>
            </a:r>
          </a:p>
        </p:txBody>
      </p:sp>
      <p:sp>
        <p:nvSpPr>
          <p:cNvPr id="15" name="文本占位符 11">
            <a:extLst>
              <a:ext uri="{FF2B5EF4-FFF2-40B4-BE49-F238E27FC236}">
                <a16:creationId xmlns:a16="http://schemas.microsoft.com/office/drawing/2014/main" id="{1E3DCA73-ADFB-7B4C-BA8D-8522065034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4050" y="3078045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>
              <a:buNone/>
              <a:defRPr sz="10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部门 </a:t>
            </a:r>
            <a:r>
              <a:rPr kumimoji="1" lang="en-US" altLang="zh-CN" dirty="0"/>
              <a:t>/</a:t>
            </a:r>
            <a:r>
              <a:rPr kumimoji="1" lang="zh-CN" altLang="en-US" dirty="0"/>
              <a:t> 编者信息</a:t>
            </a: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654048" y="3445056"/>
            <a:ext cx="1078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10997D77-3F33-4334-AE3E-EF7765A4EBD1}" type="datetime6">
              <a:rPr kumimoji="1" lang="zh-CN" altLang="en-US" sz="1000" b="0" i="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/>
              <a:t>2021年7月</a:t>
            </a:fld>
            <a:endParaRPr kumimoji="1" lang="zh-CN" altLang="en-US" sz="1000" b="0" i="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4B71DC3-2C02-E145-B5ED-B45B75A379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309" y="4420501"/>
            <a:ext cx="966354" cy="349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74288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6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>
            <a:extLst>
              <a:ext uri="{FF2B5EF4-FFF2-40B4-BE49-F238E27FC236}">
                <a16:creationId xmlns:a16="http://schemas.microsoft.com/office/drawing/2014/main" id="{8BC84C24-7463-8445-AA77-EADB7A0F0AB0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000" y="873312"/>
            <a:ext cx="4140000" cy="3776473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701918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90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2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>
            <a:extLst>
              <a:ext uri="{FF2B5EF4-FFF2-40B4-BE49-F238E27FC236}">
                <a16:creationId xmlns:a16="http://schemas.microsoft.com/office/drawing/2014/main" id="{8BC84C24-7463-8445-AA77-EADB7A0F0AB0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000" y="1224832"/>
            <a:ext cx="4140000" cy="3385329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  <p:extLst>
      <p:ext uri="{BB962C8B-B14F-4D97-AF65-F5344CB8AC3E}">
        <p14:creationId xmlns:p14="http://schemas.microsoft.com/office/powerpoint/2010/main" val="11843162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0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>
            <a:extLst>
              <a:ext uri="{FF2B5EF4-FFF2-40B4-BE49-F238E27FC236}">
                <a16:creationId xmlns:a16="http://schemas.microsoft.com/office/drawing/2014/main" id="{45E4DECF-8DC2-524E-82CE-0AA5AEF045DC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000" y="873313"/>
            <a:ext cx="2700000" cy="3774888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897" y="873313"/>
            <a:ext cx="2700000" cy="3774888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17" name="内容占位符 4">
            <a:extLst>
              <a:ext uri="{FF2B5EF4-FFF2-40B4-BE49-F238E27FC236}">
                <a16:creationId xmlns:a16="http://schemas.microsoft.com/office/drawing/2014/main" id="{12850CF2-C721-E74C-943A-15FEBAC6C8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91794" y="873313"/>
            <a:ext cx="2700000" cy="37748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56256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945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7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">
            <a:extLst>
              <a:ext uri="{FF2B5EF4-FFF2-40B4-BE49-F238E27FC236}">
                <a16:creationId xmlns:a16="http://schemas.microsoft.com/office/drawing/2014/main" id="{45E4DECF-8DC2-524E-82CE-0AA5AEF045DC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000" y="1223247"/>
            <a:ext cx="2700000" cy="3424953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897" y="1223247"/>
            <a:ext cx="2700000" cy="3424953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17" name="内容占位符 4">
            <a:extLst>
              <a:ext uri="{FF2B5EF4-FFF2-40B4-BE49-F238E27FC236}">
                <a16:creationId xmlns:a16="http://schemas.microsoft.com/office/drawing/2014/main" id="{12850CF2-C721-E74C-943A-15FEBAC6C8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91794" y="1223247"/>
            <a:ext cx="2700000" cy="34249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  <p:extLst>
      <p:ext uri="{BB962C8B-B14F-4D97-AF65-F5344CB8AC3E}">
        <p14:creationId xmlns:p14="http://schemas.microsoft.com/office/powerpoint/2010/main" val="7998439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en-US" altLang="zh-CN" dirty="0"/>
              <a:t>MTDP</a:t>
            </a:r>
            <a:r>
              <a:rPr lang="zh-CN" altLang="en-US" dirty="0"/>
              <a:t>机密</a:t>
            </a:r>
          </a:p>
        </p:txBody>
      </p:sp>
      <p:sp>
        <p:nvSpPr>
          <p:cNvPr id="6" name="任意多边形 17"/>
          <p:cNvSpPr/>
          <p:nvPr userDrawn="1"/>
        </p:nvSpPr>
        <p:spPr>
          <a:xfrm>
            <a:off x="1" y="4980385"/>
            <a:ext cx="2526407" cy="163115"/>
          </a:xfrm>
          <a:custGeom>
            <a:avLst/>
            <a:gdLst>
              <a:gd name="connsiteX0" fmla="*/ 0 w 5682343"/>
              <a:gd name="connsiteY0" fmla="*/ 0 h 217714"/>
              <a:gd name="connsiteX1" fmla="*/ 5540792 w 5682343"/>
              <a:gd name="connsiteY1" fmla="*/ 0 h 217714"/>
              <a:gd name="connsiteX2" fmla="*/ 5682343 w 5682343"/>
              <a:gd name="connsiteY2" fmla="*/ 205338 h 217714"/>
              <a:gd name="connsiteX3" fmla="*/ 5682343 w 5682343"/>
              <a:gd name="connsiteY3" fmla="*/ 217714 h 217714"/>
              <a:gd name="connsiteX4" fmla="*/ 0 w 5682343"/>
              <a:gd name="connsiteY4" fmla="*/ 217714 h 21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2343" h="217714">
                <a:moveTo>
                  <a:pt x="0" y="0"/>
                </a:moveTo>
                <a:lnTo>
                  <a:pt x="5540792" y="0"/>
                </a:lnTo>
                <a:lnTo>
                  <a:pt x="5682343" y="205338"/>
                </a:lnTo>
                <a:lnTo>
                  <a:pt x="5682343" y="217714"/>
                </a:lnTo>
                <a:lnTo>
                  <a:pt x="0" y="2177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任意多边形 15"/>
          <p:cNvSpPr/>
          <p:nvPr userDrawn="1"/>
        </p:nvSpPr>
        <p:spPr>
          <a:xfrm>
            <a:off x="0" y="4914900"/>
            <a:ext cx="1429966" cy="65485"/>
          </a:xfrm>
          <a:custGeom>
            <a:avLst/>
            <a:gdLst>
              <a:gd name="connsiteX0" fmla="*/ 0 w 3216615"/>
              <a:gd name="connsiteY0" fmla="*/ 0 h 101323"/>
              <a:gd name="connsiteX1" fmla="*/ 3134902 w 3216615"/>
              <a:gd name="connsiteY1" fmla="*/ 0 h 101323"/>
              <a:gd name="connsiteX2" fmla="*/ 3216615 w 3216615"/>
              <a:gd name="connsiteY2" fmla="*/ 101323 h 101323"/>
              <a:gd name="connsiteX3" fmla="*/ 0 w 3216615"/>
              <a:gd name="connsiteY3" fmla="*/ 101323 h 101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6615" h="101323">
                <a:moveTo>
                  <a:pt x="0" y="0"/>
                </a:moveTo>
                <a:lnTo>
                  <a:pt x="3134902" y="0"/>
                </a:lnTo>
                <a:lnTo>
                  <a:pt x="3216615" y="101323"/>
                </a:lnTo>
                <a:lnTo>
                  <a:pt x="0" y="10132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灯片编号占位符 8"/>
          <p:cNvSpPr>
            <a:spLocks noGrp="1"/>
          </p:cNvSpPr>
          <p:nvPr>
            <p:ph type="sldNum" sz="quarter" idx="1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algn="r" defTabSz="685800" fontAlgn="base">
              <a:spcBef>
                <a:spcPct val="0"/>
              </a:spcBef>
              <a:spcAft>
                <a:spcPct val="0"/>
              </a:spcAft>
              <a:defRPr/>
            </a:pPr>
            <a:fld id="{1D6C3B72-B8CC-45F5-AF50-65F60E7BCED6}" type="slidenum">
              <a:rPr lang="zh-CN" altLang="en-US" sz="900" smtClean="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</a:rPr>
              <a:pPr algn="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900">
              <a:solidFill>
                <a:srgbClr val="898989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04304932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59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5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79C20A7-4467-1E4B-BDC2-6D5D4E2DB6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999" y="1115568"/>
            <a:ext cx="8639999" cy="3466882"/>
          </a:xfrm>
          <a:prstGeom prst="rect">
            <a:avLst/>
          </a:prstGeom>
        </p:spPr>
        <p:txBody>
          <a:bodyPr tIns="90000" bIns="90000"/>
          <a:lstStyle>
            <a:lvl1pPr>
              <a:lnSpc>
                <a:spcPct val="120000"/>
              </a:lnSpc>
              <a:spcBef>
                <a:spcPts val="1200"/>
              </a:spcBef>
              <a:buClr>
                <a:srgbClr val="FFD100"/>
              </a:buClr>
              <a:defRPr sz="18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目录一
目录二
目录三
目录四
目录五</a:t>
            </a: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384305" y="288000"/>
            <a:ext cx="7285837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83C538C-ADCB-414D-96A4-4A603716DE3E}"/>
              </a:ext>
            </a:extLst>
          </p:cNvPr>
          <p:cNvSpPr/>
          <p:nvPr userDrawn="1"/>
        </p:nvSpPr>
        <p:spPr>
          <a:xfrm>
            <a:off x="251999" y="298633"/>
            <a:ext cx="45719" cy="427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3333842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388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8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99DDE43-F4A3-844E-85A2-B516D95AC9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4104" y="2045244"/>
            <a:ext cx="6435792" cy="57653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章节标题</a:t>
            </a:r>
          </a:p>
        </p:txBody>
      </p:sp>
      <p:sp>
        <p:nvSpPr>
          <p:cNvPr id="4" name="矩形"/>
          <p:cNvSpPr/>
          <p:nvPr userDrawn="1"/>
        </p:nvSpPr>
        <p:spPr>
          <a:xfrm>
            <a:off x="-5052" y="4061865"/>
            <a:ext cx="9149052" cy="108163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8046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52735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05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>
            <a:extLst>
              <a:ext uri="{FF2B5EF4-FFF2-40B4-BE49-F238E27FC236}">
                <a16:creationId xmlns:a16="http://schemas.microsoft.com/office/drawing/2014/main" id="{A2DDF5B6-5275-6345-B40D-A50DB90EE6E9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23"/>
          </p:nvPr>
        </p:nvSpPr>
        <p:spPr>
          <a:xfrm>
            <a:off x="252206" y="871728"/>
            <a:ext cx="8639588" cy="377647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050"/>
            </a:lvl3pPr>
            <a:lvl4pPr>
              <a:lnSpc>
                <a:spcPct val="120000"/>
              </a:lnSpc>
              <a:defRPr sz="1050"/>
            </a:lvl4pPr>
            <a:lvl5pPr>
              <a:lnSpc>
                <a:spcPct val="120000"/>
              </a:lnSpc>
              <a:defRPr sz="1050"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2677791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默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26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">
            <a:extLst>
              <a:ext uri="{FF2B5EF4-FFF2-40B4-BE49-F238E27FC236}">
                <a16:creationId xmlns:a16="http://schemas.microsoft.com/office/drawing/2014/main" id="{A2DDF5B6-5275-6345-B40D-A50DB90EE6E9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23"/>
          </p:nvPr>
        </p:nvSpPr>
        <p:spPr>
          <a:xfrm>
            <a:off x="252206" y="1223248"/>
            <a:ext cx="8639588" cy="342495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>
              <a:lnSpc>
                <a:spcPct val="120000"/>
              </a:lnSpc>
              <a:defRPr sz="1200"/>
            </a:lvl2pPr>
            <a:lvl3pPr>
              <a:lnSpc>
                <a:spcPct val="120000"/>
              </a:lnSpc>
              <a:defRPr sz="1050"/>
            </a:lvl3pPr>
            <a:lvl4pPr>
              <a:lnSpc>
                <a:spcPct val="120000"/>
              </a:lnSpc>
              <a:defRPr sz="1050"/>
            </a:lvl4pPr>
            <a:lvl5pPr>
              <a:lnSpc>
                <a:spcPct val="120000"/>
              </a:lnSpc>
              <a:defRPr sz="1050"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  <p:extLst>
      <p:ext uri="{BB962C8B-B14F-4D97-AF65-F5344CB8AC3E}">
        <p14:creationId xmlns:p14="http://schemas.microsoft.com/office/powerpoint/2010/main" val="354839815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0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内容占位符 20">
            <a:extLst>
              <a:ext uri="{FF2B5EF4-FFF2-40B4-BE49-F238E27FC236}">
                <a16:creationId xmlns:a16="http://schemas.microsoft.com/office/drawing/2014/main" id="{35E4847B-B577-C543-82FF-A7A30EAA0B9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95625" y="2388141"/>
            <a:ext cx="4196374" cy="2260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此处添加图表、图片等</a:t>
            </a:r>
          </a:p>
        </p:txBody>
      </p:sp>
      <p:sp>
        <p:nvSpPr>
          <p:cNvPr id="23" name="内容占位符 4">
            <a:extLst>
              <a:ext uri="{FF2B5EF4-FFF2-40B4-BE49-F238E27FC236}">
                <a16:creationId xmlns:a16="http://schemas.microsoft.com/office/drawing/2014/main" id="{391981F4-315E-1E42-93CD-E6D4EAE6959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51999" y="2388142"/>
            <a:ext cx="4210967" cy="22600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02875556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03395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4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90969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标题_上下型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98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文本占位符 2">
            <a:extLst>
              <a:ext uri="{FF2B5EF4-FFF2-40B4-BE49-F238E27FC236}">
                <a16:creationId xmlns:a16="http://schemas.microsoft.com/office/drawing/2014/main" id="{C9F13EDF-BE76-E942-A074-410237A606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834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A97E827B-55D0-4A4E-BA16-F8F3B4D892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9834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34%</a:t>
            </a:r>
            <a:endParaRPr kumimoji="1" lang="zh-CN" altLang="en-US" dirty="0"/>
          </a:p>
        </p:txBody>
      </p:sp>
      <p:sp>
        <p:nvSpPr>
          <p:cNvPr id="16" name="文本占位符 2">
            <a:extLst>
              <a:ext uri="{FF2B5EF4-FFF2-40B4-BE49-F238E27FC236}">
                <a16:creationId xmlns:a16="http://schemas.microsoft.com/office/drawing/2014/main" id="{BD36713F-6C1C-5D42-9A43-14B55DC657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83000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400D779-1D1C-764C-AFCB-00C2CD7352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3000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130</a:t>
            </a:r>
            <a:r>
              <a:rPr kumimoji="1" lang="zh-CN" altLang="en-US" dirty="0"/>
              <a:t>亿</a:t>
            </a:r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A6CD3482-E650-1446-AAE3-0759DD5EC9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6166" y="3004137"/>
            <a:ext cx="2178000" cy="36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1400" b="0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数据说明文字</a:t>
            </a:r>
          </a:p>
        </p:txBody>
      </p:sp>
      <p:sp>
        <p:nvSpPr>
          <p:cNvPr id="19" name="文本占位符 2">
            <a:extLst>
              <a:ext uri="{FF2B5EF4-FFF2-40B4-BE49-F238E27FC236}">
                <a16:creationId xmlns:a16="http://schemas.microsoft.com/office/drawing/2014/main" id="{BD369702-5F30-FA40-968D-8B142146E8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6168" y="3501168"/>
            <a:ext cx="2178000" cy="720000"/>
          </a:xfrm>
          <a:prstGeom prst="rect">
            <a:avLst/>
          </a:prstGeom>
        </p:spPr>
        <p:txBody>
          <a:bodyPr wrap="none" anchor="ctr"/>
          <a:lstStyle>
            <a:lvl1pPr marL="0" indent="0" algn="ctr">
              <a:buNone/>
              <a:defRPr sz="4000" b="1" i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en-US" altLang="zh-CN" dirty="0"/>
              <a:t>2,260</a:t>
            </a:r>
            <a:r>
              <a:rPr kumimoji="1" lang="zh-CN" altLang="en-US" dirty="0"/>
              <a:t>人</a:t>
            </a:r>
          </a:p>
        </p:txBody>
      </p:sp>
      <p:sp>
        <p:nvSpPr>
          <p:cNvPr id="23" name="矩形">
            <a:extLst>
              <a:ext uri="{FF2B5EF4-FFF2-40B4-BE49-F238E27FC236}">
                <a16:creationId xmlns:a16="http://schemas.microsoft.com/office/drawing/2014/main" id="{97B11805-F581-7C42-A70A-7EFD40522088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999" y="871727"/>
            <a:ext cx="8640000" cy="1359999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7748411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标题_左右型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22" name="think-cell 幻灯片" r:id="rId4" imgW="473" imgH="476" progId="TCLayout.ActiveDocument.1">
                  <p:embed/>
                </p:oleObj>
              </mc:Choice>
              <mc:Fallback>
                <p:oleObj name="think-cell 幻灯片" r:id="rId4" imgW="473" imgH="476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">
            <a:extLst>
              <a:ext uri="{FF2B5EF4-FFF2-40B4-BE49-F238E27FC236}">
                <a16:creationId xmlns:a16="http://schemas.microsoft.com/office/drawing/2014/main" id="{3685E407-C894-644D-AADC-BA1F75D50FA2}"/>
              </a:ext>
            </a:extLst>
          </p:cNvPr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内容占位符 4">
            <a:extLst>
              <a:ext uri="{FF2B5EF4-FFF2-40B4-BE49-F238E27FC236}">
                <a16:creationId xmlns:a16="http://schemas.microsoft.com/office/drawing/2014/main" id="{12850CF2-C721-E74C-943A-15FEBAC6C8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572000" y="1223247"/>
            <a:ext cx="4320000" cy="34249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sz="1400" b="0" i="0" kern="1200" dirty="0">
                <a:solidFill>
                  <a:srgbClr val="1E1E1E"/>
                </a:solidFill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kumimoji="1" lang="zh-CN" altLang="en-US" dirty="0"/>
              <a:t>单击中间图标添加图片等对象</a:t>
            </a:r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041DF83F-4C2A-D94D-94CD-B4128B6464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2000" y="1224832"/>
            <a:ext cx="4140000" cy="3424953"/>
          </a:xfrm>
          <a:prstGeom prst="rect">
            <a:avLst/>
          </a:prstGeom>
        </p:spPr>
        <p:txBody>
          <a:bodyPr/>
          <a:lstStyle>
            <a:lvl1pPr marL="7200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lang="zh-CN" altLang="en-US" sz="1400" b="0" i="0" smtClean="0">
                <a:effectLst/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zh-CN" altLang="en-US" b="0" i="0">
                <a:solidFill>
                  <a:srgbClr val="1E1E1E"/>
                </a:solidFill>
                <a:effectLst/>
                <a:latin typeface="Segoe UI" panose="020B0502040204020203" pitchFamily="34" charset="0"/>
              </a:rPr>
              <a:t>单击此处编辑母版文本样式</a:t>
            </a:r>
          </a:p>
        </p:txBody>
      </p:sp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252000" y="288000"/>
            <a:ext cx="7664380" cy="4273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kumimoji="1" lang="zh-CN" altLang="en-US" sz="2400" b="0" i="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1" y="803904"/>
            <a:ext cx="7664380" cy="3307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 smtClean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4pPr>
            <a:lvl5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lang="zh-CN" altLang="en-US" sz="1800" b="0" i="0" kern="1200" dirty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</a:lstStyle>
          <a:p>
            <a:r>
              <a:rPr kumimoji="1" lang="zh-CN" altLang="en-US" dirty="0">
                <a:solidFill>
                  <a:schemeClr val="bg1">
                    <a:lumMod val="50000"/>
                  </a:schemeClr>
                </a:solidFill>
              </a:rPr>
              <a:t>单击此处添加副标题</a:t>
            </a:r>
          </a:p>
        </p:txBody>
      </p:sp>
    </p:spTree>
    <p:extLst>
      <p:ext uri="{BB962C8B-B14F-4D97-AF65-F5344CB8AC3E}">
        <p14:creationId xmlns:p14="http://schemas.microsoft.com/office/powerpoint/2010/main" val="198344180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947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8" name="think-cell 幻灯片" r:id="rId18" imgW="473" imgH="476" progId="TCLayout.ActiveDocument.1">
                  <p:embed/>
                </p:oleObj>
              </mc:Choice>
              <mc:Fallback>
                <p:oleObj name="think-cell 幻灯片" r:id="rId1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"/>
          <p:cNvSpPr/>
          <p:nvPr userDrawn="1"/>
        </p:nvSpPr>
        <p:spPr>
          <a:xfrm>
            <a:off x="0" y="5037438"/>
            <a:ext cx="9144000" cy="114300"/>
          </a:xfrm>
          <a:prstGeom prst="rect">
            <a:avLst/>
          </a:prstGeom>
          <a:solidFill>
            <a:srgbClr val="FFD1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文本占位符 11">
            <a:extLst>
              <a:ext uri="{FF2B5EF4-FFF2-40B4-BE49-F238E27FC236}">
                <a16:creationId xmlns:a16="http://schemas.microsoft.com/office/drawing/2014/main" id="{1E3DCA73-ADFB-7B4C-BA8D-852206503440}"/>
              </a:ext>
            </a:extLst>
          </p:cNvPr>
          <p:cNvSpPr txBox="1">
            <a:spLocks/>
          </p:cNvSpPr>
          <p:nvPr userDrawn="1"/>
        </p:nvSpPr>
        <p:spPr>
          <a:xfrm>
            <a:off x="7817599" y="4719644"/>
            <a:ext cx="1078947" cy="251811"/>
          </a:xfrm>
          <a:prstGeom prst="rect">
            <a:avLst/>
          </a:prstGeom>
        </p:spPr>
        <p:txBody>
          <a:bodyPr wrap="none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648968B-9B7E-4AEF-AF8F-76389AEE4EF7}" type="slidenum">
              <a:rPr kumimoji="1" lang="zh-CN" altLang="en-US" smtClean="0">
                <a:latin typeface="+mn-lt"/>
                <a:ea typeface="+mn-ea"/>
                <a:cs typeface="+mn-cs"/>
                <a:sym typeface="+mn-lt"/>
              </a:rPr>
              <a:pPr/>
              <a:t>‹#›</a:t>
            </a:fld>
            <a:endParaRPr kumimoji="1" lang="zh-CN" alt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A08AED7-F891-2049-951D-1E38B65076A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587" y="345538"/>
            <a:ext cx="855005" cy="30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93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7" r:id="rId2"/>
    <p:sldLayoutId id="2147483748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52" r:id="rId11"/>
    <p:sldLayoutId id="2147483761" r:id="rId12"/>
    <p:sldLayoutId id="2147483753" r:id="rId13"/>
    <p:sldLayoutId id="2147483762" r:id="rId14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4"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系统组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zh-CN" dirty="0"/>
              <a:t>IoT</a:t>
            </a:r>
            <a:r>
              <a:rPr lang="zh-CN" altLang="en-US" dirty="0"/>
              <a:t>监控</a:t>
            </a:r>
          </a:p>
        </p:txBody>
      </p:sp>
      <p:sp>
        <p:nvSpPr>
          <p:cNvPr id="14" name="文本占位符 8"/>
          <p:cNvSpPr>
            <a:spLocks noGrp="1"/>
          </p:cNvSpPr>
          <p:nvPr>
            <p:ph type="body" sz="quarter" idx="15"/>
          </p:nvPr>
        </p:nvSpPr>
        <p:spPr>
          <a:xfrm>
            <a:off x="654049" y="3195004"/>
            <a:ext cx="1078947" cy="251811"/>
          </a:xfrm>
        </p:spPr>
        <p:txBody>
          <a:bodyPr/>
          <a:lstStyle/>
          <a:p>
            <a:r>
              <a:rPr lang="zh-CN" altLang="en-US" dirty="0"/>
              <a:t>监控系统组</a:t>
            </a:r>
            <a:r>
              <a:rPr lang="en-US" altLang="zh-CN" dirty="0"/>
              <a:t>/</a:t>
            </a:r>
            <a:r>
              <a:rPr lang="zh-CN" altLang="en-US" dirty="0"/>
              <a:t>刘港欢</a:t>
            </a:r>
          </a:p>
        </p:txBody>
      </p:sp>
    </p:spTree>
    <p:extLst>
      <p:ext uri="{BB962C8B-B14F-4D97-AF65-F5344CB8AC3E}">
        <p14:creationId xmlns:p14="http://schemas.microsoft.com/office/powerpoint/2010/main" val="206869702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0"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buFontTx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E3E23693-33BE-B542-9DD1-0A902005B8F4}"/>
              </a:ext>
            </a:extLst>
          </p:cNvPr>
          <p:cNvSpPr txBox="1"/>
          <p:nvPr/>
        </p:nvSpPr>
        <p:spPr>
          <a:xfrm>
            <a:off x="3593785" y="896692"/>
            <a:ext cx="5200170" cy="131925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个月的进展</a:t>
            </a:r>
            <a:endParaRPr kumimoji="1"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期版本发布，包含设备分析、告警配置、分组管理、设备管理、指标管理、指标分组管理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选业务方进行众测和验收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2EA1647F-5FFC-044A-A288-A76D5C53DE40}"/>
              </a:ext>
            </a:extLst>
          </p:cNvPr>
          <p:cNvSpPr txBox="1"/>
          <p:nvPr/>
        </p:nvSpPr>
        <p:spPr>
          <a:xfrm>
            <a:off x="235527" y="934377"/>
            <a:ext cx="3176744" cy="7518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finition</a:t>
            </a:r>
          </a:p>
          <a:p>
            <a:pPr marL="0" indent="0">
              <a:buNone/>
            </a:pPr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实现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数据展示和告警的监控产品</a:t>
            </a:r>
            <a:endParaRPr kumimoji="1"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5A5B6219-1086-BA44-B349-4618F0C74A3D}"/>
              </a:ext>
            </a:extLst>
          </p:cNvPr>
          <p:cNvSpPr txBox="1"/>
          <p:nvPr/>
        </p:nvSpPr>
        <p:spPr>
          <a:xfrm>
            <a:off x="3586640" y="2221922"/>
            <a:ext cx="5228749" cy="95981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个月的计划</a:t>
            </a:r>
            <a:endParaRPr kumimoji="1"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接入权限验证服务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报网关开发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聚合分析能力调研和开发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目标用户进行沟通，包含到家无人车团队，单车嵌入式设备中心等</a:t>
            </a:r>
          </a:p>
        </p:txBody>
      </p:sp>
      <p:sp>
        <p:nvSpPr>
          <p:cNvPr id="9" name="内容占位符 2">
            <a:extLst>
              <a:ext uri="{FF2B5EF4-FFF2-40B4-BE49-F238E27FC236}">
                <a16:creationId xmlns:a16="http://schemas.microsoft.com/office/drawing/2014/main" id="{BB41C34A-9051-0D48-BE37-E5F484FBA116}"/>
              </a:ext>
            </a:extLst>
          </p:cNvPr>
          <p:cNvSpPr txBox="1"/>
          <p:nvPr/>
        </p:nvSpPr>
        <p:spPr>
          <a:xfrm>
            <a:off x="3586640" y="3470433"/>
            <a:ext cx="5228749" cy="14420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当前的挑战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以及解决方案</a:t>
            </a:r>
            <a:endParaRPr kumimoji="1"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挑战：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2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当前</a:t>
            </a: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oT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底层计算和存储是复用系统指标监控</a:t>
            </a: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(Hosts)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能力，当</a:t>
            </a: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oT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数据量膨胀时会对</a:t>
            </a: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Hosts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的稳定性造成影响</a:t>
            </a:r>
          </a:p>
          <a:p>
            <a:pPr lvl="1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解决方案：</a:t>
            </a:r>
          </a:p>
          <a:p>
            <a:pPr lvl="2"/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通过拆分集群、拆分</a:t>
            </a:r>
            <a:r>
              <a:rPr kumimoji="1" lang="en-US" altLang="zh-CN" sz="1050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Hbase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表的方案在资源上进行隔离</a:t>
            </a:r>
            <a:endParaRPr kumimoji="1"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zh-CN" altLang="en-US" sz="1050" i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6BFA52CC-3340-6D43-A346-CEA5E01AF2A1}"/>
              </a:ext>
            </a:extLst>
          </p:cNvPr>
          <p:cNvCxnSpPr/>
          <p:nvPr/>
        </p:nvCxnSpPr>
        <p:spPr>
          <a:xfrm flipV="1">
            <a:off x="3642557" y="2005264"/>
            <a:ext cx="5185410" cy="12859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3C3E6817-8371-3041-887E-F2C1833E9BFF}"/>
              </a:ext>
            </a:extLst>
          </p:cNvPr>
          <p:cNvCxnSpPr/>
          <p:nvPr/>
        </p:nvCxnSpPr>
        <p:spPr>
          <a:xfrm>
            <a:off x="3593785" y="3321799"/>
            <a:ext cx="5185410" cy="8573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" name="直线连接符 11">
            <a:extLst>
              <a:ext uri="{FF2B5EF4-FFF2-40B4-BE49-F238E27FC236}">
                <a16:creationId xmlns:a16="http://schemas.microsoft.com/office/drawing/2014/main" id="{10AB0A95-9ADD-9148-B9E9-98FF554F409E}"/>
              </a:ext>
            </a:extLst>
          </p:cNvPr>
          <p:cNvCxnSpPr/>
          <p:nvPr/>
        </p:nvCxnSpPr>
        <p:spPr>
          <a:xfrm>
            <a:off x="3467645" y="880642"/>
            <a:ext cx="0" cy="396968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3" name="直线连接符 2">
            <a:extLst>
              <a:ext uri="{FF2B5EF4-FFF2-40B4-BE49-F238E27FC236}">
                <a16:creationId xmlns:a16="http://schemas.microsoft.com/office/drawing/2014/main" id="{35061EC7-B5D7-EE47-972D-ACA5B6AE199D}"/>
              </a:ext>
            </a:extLst>
          </p:cNvPr>
          <p:cNvCxnSpPr/>
          <p:nvPr/>
        </p:nvCxnSpPr>
        <p:spPr>
          <a:xfrm>
            <a:off x="375762" y="3109826"/>
            <a:ext cx="2742248" cy="8096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6B93A6D-A071-CF46-91AD-D4D2E3006DE0}"/>
              </a:ext>
            </a:extLst>
          </p:cNvPr>
          <p:cNvSpPr txBox="1"/>
          <p:nvPr/>
        </p:nvSpPr>
        <p:spPr>
          <a:xfrm>
            <a:off x="375762" y="3176975"/>
            <a:ext cx="2367438" cy="59579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lestones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5" name="直线连接符 2">
            <a:extLst>
              <a:ext uri="{FF2B5EF4-FFF2-40B4-BE49-F238E27FC236}">
                <a16:creationId xmlns:a16="http://schemas.microsoft.com/office/drawing/2014/main" id="{17CCD08A-1234-D243-8F4D-16D06D152E16}"/>
              </a:ext>
            </a:extLst>
          </p:cNvPr>
          <p:cNvCxnSpPr/>
          <p:nvPr/>
        </p:nvCxnSpPr>
        <p:spPr>
          <a:xfrm>
            <a:off x="373993" y="1645876"/>
            <a:ext cx="2732723" cy="285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EED51BBC-C43B-E048-A7E9-F9513C6D1822}"/>
              </a:ext>
            </a:extLst>
          </p:cNvPr>
          <p:cNvSpPr txBox="1"/>
          <p:nvPr/>
        </p:nvSpPr>
        <p:spPr>
          <a:xfrm>
            <a:off x="265099" y="1686229"/>
            <a:ext cx="3117599" cy="138025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9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kumimoji="1"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cope and goals</a:t>
            </a:r>
          </a:p>
          <a:p>
            <a:pPr lvl="1"/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cope</a:t>
            </a:r>
          </a:p>
          <a:p>
            <a:pPr marL="914400" lvl="2" indent="0">
              <a:buNone/>
            </a:pP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的监控数据展示和告警</a:t>
            </a:r>
          </a:p>
          <a:p>
            <a:pPr lvl="1"/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oals</a:t>
            </a:r>
          </a:p>
          <a:p>
            <a:pPr marL="457200" lvl="1" indent="0">
              <a:buNone/>
            </a:pP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kumimoji="1"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</a:t>
            </a:r>
            <a:r>
              <a:rPr kumimoji="1"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的统一监控产品，保障</a:t>
            </a: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的稳定性</a:t>
            </a:r>
            <a:endParaRPr kumimoji="1" lang="en-US" altLang="zh-CN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1">
            <a:extLst>
              <a:ext uri="{FF2B5EF4-FFF2-40B4-BE49-F238E27FC236}">
                <a16:creationId xmlns:a16="http://schemas.microsoft.com/office/drawing/2014/main" id="{180EA8ED-CA57-6946-A77D-E8189FD405C3}"/>
              </a:ext>
            </a:extLst>
          </p:cNvPr>
          <p:cNvSpPr/>
          <p:nvPr/>
        </p:nvSpPr>
        <p:spPr>
          <a:xfrm>
            <a:off x="2517869" y="357968"/>
            <a:ext cx="1273628" cy="26222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50" dirty="0"/>
              <a:t>健康状态</a:t>
            </a:r>
            <a:endParaRPr lang="en-US" sz="1350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2BF81ED-E204-BC4A-8C47-4303A40F9699}"/>
              </a:ext>
            </a:extLst>
          </p:cNvPr>
          <p:cNvSpPr/>
          <p:nvPr/>
        </p:nvSpPr>
        <p:spPr>
          <a:xfrm>
            <a:off x="3791497" y="371471"/>
            <a:ext cx="448886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sz="105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【</a:t>
            </a:r>
            <a:r>
              <a:rPr kumimoji="1" lang="zh-CN" altLang="en-US" sz="105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项目负责人颜成吉，总人力投入：</a:t>
            </a:r>
            <a:r>
              <a:rPr kumimoji="1" lang="en-US" altLang="zh-CN" sz="105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】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727DE804-3790-7B44-874D-A8691FEF28C2}"/>
              </a:ext>
            </a:extLst>
          </p:cNvPr>
          <p:cNvSpPr/>
          <p:nvPr/>
        </p:nvSpPr>
        <p:spPr>
          <a:xfrm>
            <a:off x="4343014" y="4855500"/>
            <a:ext cx="6912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US" altLang="zh-CN" sz="800" dirty="0">
                <a:solidFill>
                  <a:schemeClr val="tx1">
                    <a:tint val="75000"/>
                  </a:schemeClr>
                </a:solidFill>
              </a:rPr>
              <a:t>MTDP</a:t>
            </a:r>
            <a:r>
              <a:rPr lang="zh-CN" altLang="en-US" sz="800" dirty="0">
                <a:solidFill>
                  <a:schemeClr val="tx1">
                    <a:tint val="75000"/>
                  </a:schemeClr>
                </a:solidFill>
              </a:rPr>
              <a:t>机密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8D7F2143-83E6-5C4C-B10D-6EE4C60FA91F}"/>
              </a:ext>
            </a:extLst>
          </p:cNvPr>
          <p:cNvSpPr txBox="1"/>
          <p:nvPr/>
        </p:nvSpPr>
        <p:spPr>
          <a:xfrm>
            <a:off x="13063" y="3372200"/>
            <a:ext cx="3573577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4 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沟通</a:t>
            </a:r>
            <a:endParaRPr kumimoji="1"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5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技术调研和产品设计</a:t>
            </a:r>
          </a:p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6 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现指标展示，实时告警能力</a:t>
            </a:r>
          </a:p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7 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接入权限验证服务</a:t>
            </a:r>
          </a:p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8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oT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报网关上线</a:t>
            </a:r>
          </a:p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8 IoT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聚合分析能力上线</a:t>
            </a:r>
          </a:p>
          <a:p>
            <a:pPr marL="628650" lvl="1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.09 </a:t>
            </a:r>
            <a:r>
              <a:rPr kumimoji="1"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底层资源与其他系统隔离</a:t>
            </a:r>
          </a:p>
          <a:p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054142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54"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buFontTx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架构图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82A266B-9D6B-B044-B4E0-6F31CC1ED2C1}"/>
              </a:ext>
            </a:extLst>
          </p:cNvPr>
          <p:cNvSpPr/>
          <p:nvPr/>
        </p:nvSpPr>
        <p:spPr>
          <a:xfrm>
            <a:off x="4343014" y="4855500"/>
            <a:ext cx="6912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US" altLang="zh-CN" sz="800" dirty="0">
                <a:solidFill>
                  <a:schemeClr val="tx1">
                    <a:tint val="75000"/>
                  </a:schemeClr>
                </a:solidFill>
              </a:rPr>
              <a:t>MTDP</a:t>
            </a:r>
            <a:r>
              <a:rPr lang="zh-CN" altLang="en-US" sz="800" dirty="0">
                <a:solidFill>
                  <a:schemeClr val="tx1">
                    <a:tint val="75000"/>
                  </a:schemeClr>
                </a:solidFill>
              </a:rPr>
              <a:t>机密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193CB39-4527-0441-B765-775DFC205FC5}"/>
              </a:ext>
            </a:extLst>
          </p:cNvPr>
          <p:cNvSpPr txBox="1"/>
          <p:nvPr/>
        </p:nvSpPr>
        <p:spPr>
          <a:xfrm>
            <a:off x="4501662" y="287508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A0E08BB-22DB-4B47-8927-5436F3F9BC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3858" y="291432"/>
            <a:ext cx="6495310" cy="456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497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2" name="think-cell 幻灯片" r:id="rId5" imgW="473" imgH="476" progId="TCLayout.ActiveDocument.1">
                  <p:embed/>
                </p:oleObj>
              </mc:Choice>
              <mc:Fallback>
                <p:oleObj name="think-cell 幻灯片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buFontTx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功能展示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82A266B-9D6B-B044-B4E0-6F31CC1ED2C1}"/>
              </a:ext>
            </a:extLst>
          </p:cNvPr>
          <p:cNvSpPr/>
          <p:nvPr/>
        </p:nvSpPr>
        <p:spPr>
          <a:xfrm>
            <a:off x="4343014" y="4855500"/>
            <a:ext cx="6912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US" altLang="zh-CN" sz="800" dirty="0">
                <a:solidFill>
                  <a:schemeClr val="tx1">
                    <a:tint val="75000"/>
                  </a:schemeClr>
                </a:solidFill>
              </a:rPr>
              <a:t>MTDP</a:t>
            </a:r>
            <a:r>
              <a:rPr lang="zh-CN" altLang="en-US" sz="800" dirty="0">
                <a:solidFill>
                  <a:schemeClr val="tx1">
                    <a:tint val="75000"/>
                  </a:schemeClr>
                </a:solidFill>
              </a:rPr>
              <a:t>机密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50C45FA-A0B8-5D4B-92C5-E324FE4238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620" y="803033"/>
            <a:ext cx="4455380" cy="223664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5F33861-B0D4-464D-AC2D-1D5D35E63D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7425" y="803033"/>
            <a:ext cx="4202611" cy="2458292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5DA7B7E-9369-9A41-8CEE-F27E13A311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711" y="3137863"/>
            <a:ext cx="4484289" cy="1717638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F0A403DB-14FC-A54C-BEC2-67CA37F847E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20080" y="3359037"/>
            <a:ext cx="4436209" cy="1326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67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任意多边形 17"/>
          <p:cNvSpPr/>
          <p:nvPr/>
        </p:nvSpPr>
        <p:spPr>
          <a:xfrm>
            <a:off x="1" y="4980385"/>
            <a:ext cx="2526407" cy="163115"/>
          </a:xfrm>
          <a:custGeom>
            <a:avLst/>
            <a:gdLst>
              <a:gd name="connsiteX0" fmla="*/ 0 w 5682343"/>
              <a:gd name="connsiteY0" fmla="*/ 0 h 217714"/>
              <a:gd name="connsiteX1" fmla="*/ 5540792 w 5682343"/>
              <a:gd name="connsiteY1" fmla="*/ 0 h 217714"/>
              <a:gd name="connsiteX2" fmla="*/ 5682343 w 5682343"/>
              <a:gd name="connsiteY2" fmla="*/ 205338 h 217714"/>
              <a:gd name="connsiteX3" fmla="*/ 5682343 w 5682343"/>
              <a:gd name="connsiteY3" fmla="*/ 217714 h 217714"/>
              <a:gd name="connsiteX4" fmla="*/ 0 w 5682343"/>
              <a:gd name="connsiteY4" fmla="*/ 217714 h 21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2343" h="217714">
                <a:moveTo>
                  <a:pt x="0" y="0"/>
                </a:moveTo>
                <a:lnTo>
                  <a:pt x="5540792" y="0"/>
                </a:lnTo>
                <a:lnTo>
                  <a:pt x="5682343" y="205338"/>
                </a:lnTo>
                <a:lnTo>
                  <a:pt x="5682343" y="217714"/>
                </a:lnTo>
                <a:lnTo>
                  <a:pt x="0" y="2177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zh-CN" altLang="en-US" sz="1350"/>
          </a:p>
        </p:txBody>
      </p:sp>
      <p:sp>
        <p:nvSpPr>
          <p:cNvPr id="16" name="任意多边形 15"/>
          <p:cNvSpPr/>
          <p:nvPr/>
        </p:nvSpPr>
        <p:spPr>
          <a:xfrm>
            <a:off x="0" y="4914900"/>
            <a:ext cx="1429966" cy="65485"/>
          </a:xfrm>
          <a:custGeom>
            <a:avLst/>
            <a:gdLst>
              <a:gd name="connsiteX0" fmla="*/ 0 w 3216615"/>
              <a:gd name="connsiteY0" fmla="*/ 0 h 101323"/>
              <a:gd name="connsiteX1" fmla="*/ 3134902 w 3216615"/>
              <a:gd name="connsiteY1" fmla="*/ 0 h 101323"/>
              <a:gd name="connsiteX2" fmla="*/ 3216615 w 3216615"/>
              <a:gd name="connsiteY2" fmla="*/ 101323 h 101323"/>
              <a:gd name="connsiteX3" fmla="*/ 0 w 3216615"/>
              <a:gd name="connsiteY3" fmla="*/ 101323 h 101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6615" h="101323">
                <a:moveTo>
                  <a:pt x="0" y="0"/>
                </a:moveTo>
                <a:lnTo>
                  <a:pt x="3134902" y="0"/>
                </a:lnTo>
                <a:lnTo>
                  <a:pt x="3216615" y="101323"/>
                </a:lnTo>
                <a:lnTo>
                  <a:pt x="0" y="10132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zh-CN" altLang="en-US" sz="1350"/>
          </a:p>
        </p:txBody>
      </p:sp>
      <p:sp>
        <p:nvSpPr>
          <p:cNvPr id="9" name="文本框 12"/>
          <p:cNvSpPr txBox="1"/>
          <p:nvPr/>
        </p:nvSpPr>
        <p:spPr>
          <a:xfrm>
            <a:off x="2526407" y="1782061"/>
            <a:ext cx="3711456" cy="1800493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algn="ctr"/>
            <a:r>
              <a:rPr lang="en-US" altLang="zh-CN" sz="4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Q &amp; A</a:t>
            </a:r>
            <a:endParaRPr lang="zh-CN" altLang="en-US" sz="4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6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 defTabSz="685800">
              <a:defRPr/>
            </a:pPr>
            <a:endParaRPr lang="zh-CN" altLang="en-US" sz="9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D1C338B-C2A0-C84E-AC2D-BD913932C8F3}"/>
              </a:ext>
            </a:extLst>
          </p:cNvPr>
          <p:cNvSpPr/>
          <p:nvPr/>
        </p:nvSpPr>
        <p:spPr>
          <a:xfrm>
            <a:off x="4343014" y="4855500"/>
            <a:ext cx="6912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US" altLang="zh-CN" sz="800" dirty="0">
                <a:solidFill>
                  <a:schemeClr val="tx1">
                    <a:tint val="75000"/>
                  </a:schemeClr>
                </a:solidFill>
              </a:rPr>
              <a:t>MTDP</a:t>
            </a:r>
            <a:r>
              <a:rPr lang="zh-CN" altLang="en-US" sz="800" dirty="0">
                <a:solidFill>
                  <a:schemeClr val="tx1">
                    <a:tint val="75000"/>
                  </a:schemeClr>
                </a:solidFill>
              </a:rPr>
              <a:t>机密</a:t>
            </a:r>
          </a:p>
        </p:txBody>
      </p:sp>
    </p:spTree>
    <p:extLst>
      <p:ext uri="{BB962C8B-B14F-4D97-AF65-F5344CB8AC3E}">
        <p14:creationId xmlns:p14="http://schemas.microsoft.com/office/powerpoint/2010/main" val="949716600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美团点评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D100"/>
      </a:accent1>
      <a:accent2>
        <a:srgbClr val="FE8C00"/>
      </a:accent2>
      <a:accent3>
        <a:srgbClr val="FF4949"/>
      </a:accent3>
      <a:accent4>
        <a:srgbClr val="FF6600"/>
      </a:accent4>
      <a:accent5>
        <a:srgbClr val="0079FF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美团PPT模板16：9" id="{3A81228E-E2A9-084A-8C0A-BD80C6A3026E}" vid="{6A30B129-7652-C34E-A0F8-AD38EE50B220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主题​​</Template>
  <TotalTime>1223</TotalTime>
  <Words>269</Words>
  <Application>Microsoft Macintosh PowerPoint</Application>
  <PresentationFormat>全屏显示(16:9)</PresentationFormat>
  <Paragraphs>49</Paragraphs>
  <Slides>5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3" baseType="lpstr">
      <vt:lpstr>等线</vt:lpstr>
      <vt:lpstr>Microsoft YaHei</vt:lpstr>
      <vt:lpstr>Microsoft YaHei</vt:lpstr>
      <vt:lpstr>Arial</vt:lpstr>
      <vt:lpstr>Calibri</vt:lpstr>
      <vt:lpstr>Segoe UI</vt:lpstr>
      <vt:lpstr>Office 主题​​</vt:lpstr>
      <vt:lpstr>think-cell 幻灯片</vt:lpstr>
      <vt:lpstr>PowerPoint 演示文稿</vt:lpstr>
      <vt:lpstr>IoT监控</vt:lpstr>
      <vt:lpstr>架构图</vt:lpstr>
      <vt:lpstr>产品功能展示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Microsoft Office User</cp:lastModifiedBy>
  <cp:revision>61</cp:revision>
  <dcterms:created xsi:type="dcterms:W3CDTF">2020-10-30T01:56:00Z</dcterms:created>
  <dcterms:modified xsi:type="dcterms:W3CDTF">2021-07-22T06:59:39Z</dcterms:modified>
</cp:coreProperties>
</file>